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2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EE534BF-0911-4955-AC1E-C01053F5212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9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8294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/>
        </p:nvGraphicFramePr>
        <p:xfrm>
          <a:off x="652463" y="1743075"/>
          <a:ext cx="7996237" cy="3989878"/>
        </p:xfrm>
        <a:graphic>
          <a:graphicData uri="http://schemas.openxmlformats.org/drawingml/2006/table">
            <a:tbl>
              <a:tblPr/>
              <a:tblGrid>
                <a:gridCol w="38750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6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NUTZEN UND VORTEILE</a:t>
                      </a:r>
                      <a:endParaRPr kumimoji="0" 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038">
                <a:tc>
                  <a:txBody>
                    <a:bodyPr/>
                    <a:lstStyle/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fr-FR" altLang="de-DE" sz="1200" b="0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ringere Produkt-Durchflussabweichungen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fr-FR" altLang="de-DE" sz="1200" b="0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rbesserte Halsspülung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fr-FR" altLang="de-DE" sz="1200" b="0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ringere Gefahr von Produktrückständen am Hal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254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ktuell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Lösu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i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entilgehäus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und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tößel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urd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ntwickel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, um 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chaumbildu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am Hal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inzuschränken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neu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Lösu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erbesser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Leistu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ank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ine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entilgehäuse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i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inem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kleiner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uslas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fü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geringer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urchflussabweichung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.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296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Verringerte Produkt-Durchflussabweichungen</a:t>
            </a:r>
          </a:p>
        </p:txBody>
      </p:sp>
      <p:sp>
        <p:nvSpPr>
          <p:cNvPr id="82965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7014"/>
            <a:ext cx="8027987" cy="277812"/>
          </a:xfrm>
        </p:spPr>
        <p:txBody>
          <a:bodyPr wrap="square">
            <a:spAutoFit/>
          </a:bodyPr>
          <a:lstStyle/>
          <a:p>
            <a:r>
              <a:rPr lang="fr-FR" sz="1800" noProof="1"/>
              <a:t>Geänderte Stößel am Füllventil für geringere Durchflussabweichungen</a:t>
            </a:r>
          </a:p>
        </p:txBody>
      </p:sp>
      <p:sp>
        <p:nvSpPr>
          <p:cNvPr id="82966" name="Text Placeholder 2"/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utzen: Produktqualität, Kostenoptimierung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sstattung: Aseptische Abfüllanlage (FMa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atalog-Code: SP005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2974" name="Picture 2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75463" y="4246563"/>
            <a:ext cx="1663700" cy="137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75" name="Picture 2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89500" y="4246563"/>
            <a:ext cx="1662113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1">
            <a:extLst>
              <a:ext uri="{FF2B5EF4-FFF2-40B4-BE49-F238E27FC236}">
                <a16:creationId xmlns:a16="http://schemas.microsoft.com/office/drawing/2014/main" id="{CC6AD223-A7D6-4D50-9095-3A07D5F1DEC5}"/>
              </a:ext>
            </a:extLst>
          </p:cNvPr>
          <p:cNvSpPr/>
          <p:nvPr/>
        </p:nvSpPr>
        <p:spPr>
          <a:xfrm>
            <a:off x="4761070" y="1743074"/>
            <a:ext cx="3887630" cy="389781"/>
          </a:xfrm>
          <a:prstGeom prst="rect">
            <a:avLst/>
          </a:prstGeom>
          <a:solidFill>
            <a:srgbClr val="E64B00"/>
          </a:solidFill>
          <a:ln w="12700" cap="flat" cmpd="sng" algn="ctr">
            <a:solidFill>
              <a:srgbClr val="E64B00"/>
            </a:solidFill>
            <a:prstDash val="solid"/>
          </a:ln>
          <a:effectLst/>
        </p:spPr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81913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72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Verringerte Produkt-Durchflussabweichung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6</cp:revision>
  <dcterms:created xsi:type="dcterms:W3CDTF">2014-07-21T08:52:21Z</dcterms:created>
  <dcterms:modified xsi:type="dcterms:W3CDTF">2021-03-05T15:1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47:57.3236486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